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4"/>
  </p:sldMasterIdLst>
  <p:notesMasterIdLst>
    <p:notesMasterId r:id="rId6"/>
  </p:notesMasterIdLst>
  <p:handoutMasterIdLst>
    <p:handoutMasterId r:id="rId7"/>
  </p:handoutMasterIdLst>
  <p:sldIdLst>
    <p:sldId id="2147481519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3" orient="horz" pos="3784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8" orient="horz" pos="3271" userDrawn="1">
          <p15:clr>
            <a:srgbClr val="A4A3A4"/>
          </p15:clr>
        </p15:guide>
        <p15:guide id="9" orient="horz" pos="1253">
          <p15:clr>
            <a:srgbClr val="A4A3A4"/>
          </p15:clr>
        </p15:guide>
        <p15:guide id="10" pos="5952">
          <p15:clr>
            <a:srgbClr val="A4A3A4"/>
          </p15:clr>
        </p15:guide>
        <p15:guide id="14" pos="7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0000"/>
    <a:srgbClr val="575D62"/>
    <a:srgbClr val="404040"/>
    <a:srgbClr val="EBEDF4"/>
    <a:srgbClr val="EDEFF5"/>
    <a:srgbClr val="94EFE3"/>
    <a:srgbClr val="E74B00"/>
    <a:srgbClr val="565E61"/>
    <a:srgbClr val="575E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AD11CF-03C0-4D62-B717-AEAB4B742BBD}" v="4" dt="2024-07-09T08:02:01.328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86418" autoAdjust="0"/>
  </p:normalViewPr>
  <p:slideViewPr>
    <p:cSldViewPr snapToGrid="0" showGuides="1">
      <p:cViewPr varScale="1">
        <p:scale>
          <a:sx n="113" d="100"/>
          <a:sy n="113" d="100"/>
        </p:scale>
        <p:origin x="396" y="90"/>
      </p:cViewPr>
      <p:guideLst>
        <p:guide orient="horz" pos="2160"/>
        <p:guide orient="horz" pos="3784"/>
        <p:guide orient="horz" pos="935"/>
        <p:guide orient="horz" pos="3271"/>
        <p:guide orient="horz" pos="1253"/>
        <p:guide pos="5952"/>
        <p:guide pos="7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, Tanguy [EXTERNAL]" userId="8bb54983-66b2-4b87-b83e-e2297b5db4b2" providerId="ADAL" clId="{2DAD11CF-03C0-4D62-B717-AEAB4B742BBD}"/>
    <pc:docChg chg="custSel modSld modMainMaster">
      <pc:chgData name="Christophe, Tanguy [EXTERNAL]" userId="8bb54983-66b2-4b87-b83e-e2297b5db4b2" providerId="ADAL" clId="{2DAD11CF-03C0-4D62-B717-AEAB4B742BBD}" dt="2024-07-09T08:01:50.381" v="13"/>
      <pc:docMkLst>
        <pc:docMk/>
      </pc:docMkLst>
      <pc:sldChg chg="modSp">
        <pc:chgData name="Christophe, Tanguy [EXTERNAL]" userId="8bb54983-66b2-4b87-b83e-e2297b5db4b2" providerId="ADAL" clId="{2DAD11CF-03C0-4D62-B717-AEAB4B742BBD}" dt="2024-07-08T13:39:51.506" v="0" actId="2711"/>
        <pc:sldMkLst>
          <pc:docMk/>
          <pc:sldMk cId="3562233701" sldId="2147481519"/>
        </pc:sldMkLst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2" creationId="{EA3DF085-CA30-37CB-DDB5-DAFB7BABABE4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3" creationId="{00E2E05B-770B-A49B-E391-854258AC56C8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45" creationId="{462D28B0-096D-D35E-8480-2F192B64945A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52" creationId="{2D983DB6-86B6-2BF3-FCC8-46E7B8EBA5A3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56" creationId="{4C4FC064-3AE4-BDB6-CE6E-ED90C2136D5A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0" creationId="{8DA02F4B-E452-8A61-0B03-BC6E2241BCCF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1" creationId="{3E8F08BB-7384-E4FB-4CF7-BFAD3ED739A3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2" creationId="{C8150B97-541C-BC17-A789-56F8312ED4DB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3" creationId="{A80B108C-F084-D870-FFE1-699A4D7E5A9C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4" creationId="{DBADC5FC-5F63-742C-4471-FC03D2601782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5" creationId="{6F5CBB1E-7EAD-1268-BE31-C74056578596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6" creationId="{E3D8C216-047A-0E7E-482B-070507816A1B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7" creationId="{1707BAA9-DCA5-5E2B-3C1B-986695A9A3BD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8" creationId="{7DE98027-5F83-A5FC-4337-E3E1E304AA6F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69" creationId="{25DACCD5-7A73-7525-1A8B-7E787DA1F44B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70" creationId="{93B8876F-D75E-DDD0-807A-A249C3FADAED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72" creationId="{1FDECD4F-9DF8-6612-491B-34F87349BAA1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73" creationId="{12EB70C3-9807-83CD-C6D7-8DA816CD10C5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74" creationId="{E443DD28-22B4-64F2-4A99-C128192B85BB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75" creationId="{ED133E87-7334-5DAE-45D3-5C83D05C9F54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76" creationId="{C2B15D47-420C-031E-3EC2-32FFA8D3CD17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77" creationId="{CEB518CC-88F0-C974-99B5-11D72930C682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81" creationId="{7F8FF035-9BA4-F3F0-474B-3B8CA92BC57C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82" creationId="{E613E64A-8215-A989-D201-A1DE6E0C731D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83" creationId="{BB6C8BF8-83D3-54C0-D546-7997C19520F1}"/>
          </ac:spMkLst>
        </pc:spChg>
        <pc:spChg chg="mod">
          <ac:chgData name="Christophe, Tanguy [EXTERNAL]" userId="8bb54983-66b2-4b87-b83e-e2297b5db4b2" providerId="ADAL" clId="{2DAD11CF-03C0-4D62-B717-AEAB4B742BBD}" dt="2024-07-08T13:39:51.506" v="0" actId="2711"/>
          <ac:spMkLst>
            <pc:docMk/>
            <pc:sldMk cId="3562233701" sldId="2147481519"/>
            <ac:spMk id="85" creationId="{3CFECDA4-226B-79C8-A599-9758303A00AB}"/>
          </ac:spMkLst>
        </pc:spChg>
        <pc:grpChg chg="mod">
          <ac:chgData name="Christophe, Tanguy [EXTERNAL]" userId="8bb54983-66b2-4b87-b83e-e2297b5db4b2" providerId="ADAL" clId="{2DAD11CF-03C0-4D62-B717-AEAB4B742BBD}" dt="2024-07-08T13:39:51.506" v="0" actId="2711"/>
          <ac:grpSpMkLst>
            <pc:docMk/>
            <pc:sldMk cId="3562233701" sldId="2147481519"/>
            <ac:grpSpMk id="46" creationId="{B782813F-3496-38D5-905D-BF224DB6F91E}"/>
          </ac:grpSpMkLst>
        </pc:grpChg>
        <pc:grpChg chg="mod">
          <ac:chgData name="Christophe, Tanguy [EXTERNAL]" userId="8bb54983-66b2-4b87-b83e-e2297b5db4b2" providerId="ADAL" clId="{2DAD11CF-03C0-4D62-B717-AEAB4B742BBD}" dt="2024-07-08T13:39:51.506" v="0" actId="2711"/>
          <ac:grpSpMkLst>
            <pc:docMk/>
            <pc:sldMk cId="3562233701" sldId="2147481519"/>
            <ac:grpSpMk id="49" creationId="{490ED495-63AE-8B1F-4398-41F98B2EF32B}"/>
          </ac:grpSpMkLst>
        </pc:grpChg>
        <pc:grpChg chg="mod">
          <ac:chgData name="Christophe, Tanguy [EXTERNAL]" userId="8bb54983-66b2-4b87-b83e-e2297b5db4b2" providerId="ADAL" clId="{2DAD11CF-03C0-4D62-B717-AEAB4B742BBD}" dt="2024-07-08T13:39:51.506" v="0" actId="2711"/>
          <ac:grpSpMkLst>
            <pc:docMk/>
            <pc:sldMk cId="3562233701" sldId="2147481519"/>
            <ac:grpSpMk id="53" creationId="{AC61FE2B-F443-A0EE-09FE-18283CF93C4A}"/>
          </ac:grpSpMkLst>
        </pc:grpChg>
        <pc:grpChg chg="mod">
          <ac:chgData name="Christophe, Tanguy [EXTERNAL]" userId="8bb54983-66b2-4b87-b83e-e2297b5db4b2" providerId="ADAL" clId="{2DAD11CF-03C0-4D62-B717-AEAB4B742BBD}" dt="2024-07-08T13:39:51.506" v="0" actId="2711"/>
          <ac:grpSpMkLst>
            <pc:docMk/>
            <pc:sldMk cId="3562233701" sldId="2147481519"/>
            <ac:grpSpMk id="57" creationId="{D682DAD1-ECF6-A60C-6984-9692AA5B5BA7}"/>
          </ac:grpSpMkLst>
        </pc:grpChg>
        <pc:picChg chg="mod">
          <ac:chgData name="Christophe, Tanguy [EXTERNAL]" userId="8bb54983-66b2-4b87-b83e-e2297b5db4b2" providerId="ADAL" clId="{2DAD11CF-03C0-4D62-B717-AEAB4B742BBD}" dt="2024-07-08T13:39:51.506" v="0" actId="2711"/>
          <ac:picMkLst>
            <pc:docMk/>
            <pc:sldMk cId="3562233701" sldId="2147481519"/>
            <ac:picMk id="7" creationId="{E5FBD87B-2E44-2D43-5677-A228582DD95C}"/>
          </ac:picMkLst>
        </pc:picChg>
        <pc:picChg chg="mod">
          <ac:chgData name="Christophe, Tanguy [EXTERNAL]" userId="8bb54983-66b2-4b87-b83e-e2297b5db4b2" providerId="ADAL" clId="{2DAD11CF-03C0-4D62-B717-AEAB4B742BBD}" dt="2024-07-08T13:39:51.506" v="0" actId="2711"/>
          <ac:picMkLst>
            <pc:docMk/>
            <pc:sldMk cId="3562233701" sldId="2147481519"/>
            <ac:picMk id="8" creationId="{5F82137C-306F-E67C-7A5A-4A8C25032159}"/>
          </ac:picMkLst>
        </pc:picChg>
        <pc:picChg chg="mod">
          <ac:chgData name="Christophe, Tanguy [EXTERNAL]" userId="8bb54983-66b2-4b87-b83e-e2297b5db4b2" providerId="ADAL" clId="{2DAD11CF-03C0-4D62-B717-AEAB4B742BBD}" dt="2024-07-08T13:39:51.506" v="0" actId="2711"/>
          <ac:picMkLst>
            <pc:docMk/>
            <pc:sldMk cId="3562233701" sldId="2147481519"/>
            <ac:picMk id="9" creationId="{F345CF5C-AF73-7251-3D8E-87DB5FC9D8D7}"/>
          </ac:picMkLst>
        </pc:picChg>
        <pc:picChg chg="mod">
          <ac:chgData name="Christophe, Tanguy [EXTERNAL]" userId="8bb54983-66b2-4b87-b83e-e2297b5db4b2" providerId="ADAL" clId="{2DAD11CF-03C0-4D62-B717-AEAB4B742BBD}" dt="2024-07-08T13:39:51.506" v="0" actId="2711"/>
          <ac:picMkLst>
            <pc:docMk/>
            <pc:sldMk cId="3562233701" sldId="2147481519"/>
            <ac:picMk id="84" creationId="{2FEC2C91-A539-9968-6BD5-85395EF9AD4A}"/>
          </ac:picMkLst>
        </pc:picChg>
        <pc:picChg chg="mod">
          <ac:chgData name="Christophe, Tanguy [EXTERNAL]" userId="8bb54983-66b2-4b87-b83e-e2297b5db4b2" providerId="ADAL" clId="{2DAD11CF-03C0-4D62-B717-AEAB4B742BBD}" dt="2024-07-08T13:39:51.506" v="0" actId="2711"/>
          <ac:picMkLst>
            <pc:docMk/>
            <pc:sldMk cId="3562233701" sldId="2147481519"/>
            <ac:picMk id="1026" creationId="{87F40444-A6A8-4981-7EFD-0A9FF378F303}"/>
          </ac:picMkLst>
        </pc:picChg>
      </pc:sldChg>
      <pc:sldMasterChg chg="addSp delSp modSp mod">
        <pc:chgData name="Christophe, Tanguy [EXTERNAL]" userId="8bb54983-66b2-4b87-b83e-e2297b5db4b2" providerId="ADAL" clId="{2DAD11CF-03C0-4D62-B717-AEAB4B742BBD}" dt="2024-07-09T08:01:50.381" v="13"/>
        <pc:sldMasterMkLst>
          <pc:docMk/>
          <pc:sldMasterMk cId="4281836575" sldId="2147483697"/>
        </pc:sldMasterMkLst>
        <pc:spChg chg="add del mod">
          <ac:chgData name="Christophe, Tanguy [EXTERNAL]" userId="8bb54983-66b2-4b87-b83e-e2297b5db4b2" providerId="ADAL" clId="{2DAD11CF-03C0-4D62-B717-AEAB4B742BBD}" dt="2024-07-09T08:01:50.381" v="13"/>
          <ac:spMkLst>
            <pc:docMk/>
            <pc:sldMasterMk cId="4281836575" sldId="2147483697"/>
            <ac:spMk id="7" creationId="{11E918EF-DE78-2ECB-7119-4C64AF6923B8}"/>
          </ac:spMkLst>
        </pc:spChg>
        <pc:spChg chg="add mod">
          <ac:chgData name="Christophe, Tanguy [EXTERNAL]" userId="8bb54983-66b2-4b87-b83e-e2297b5db4b2" providerId="ADAL" clId="{2DAD11CF-03C0-4D62-B717-AEAB4B742BBD}" dt="2024-07-09T08:01:49.900" v="11" actId="1076"/>
          <ac:spMkLst>
            <pc:docMk/>
            <pc:sldMasterMk cId="4281836575" sldId="2147483697"/>
            <ac:spMk id="8" creationId="{BCEE0BB7-B61E-9FD1-FA9A-11677F98018E}"/>
          </ac:spMkLst>
        </pc:spChg>
        <pc:spChg chg="del mod">
          <ac:chgData name="Christophe, Tanguy [EXTERNAL]" userId="8bb54983-66b2-4b87-b83e-e2297b5db4b2" providerId="ADAL" clId="{2DAD11CF-03C0-4D62-B717-AEAB4B742BBD}" dt="2024-07-09T08:00:44.914" v="3" actId="478"/>
          <ac:spMkLst>
            <pc:docMk/>
            <pc:sldMasterMk cId="4281836575" sldId="2147483697"/>
            <ac:spMk id="87" creationId="{00000000-0000-0000-0000-000000000000}"/>
          </ac:spMkLst>
        </pc:spChg>
        <pc:picChg chg="del">
          <ac:chgData name="Christophe, Tanguy [EXTERNAL]" userId="8bb54983-66b2-4b87-b83e-e2297b5db4b2" providerId="ADAL" clId="{2DAD11CF-03C0-4D62-B717-AEAB4B742BBD}" dt="2024-07-09T08:00:34.266" v="1" actId="478"/>
          <ac:picMkLst>
            <pc:docMk/>
            <pc:sldMasterMk cId="4281836575" sldId="2147483697"/>
            <ac:picMk id="5" creationId="{610A67ED-DBBF-07F9-9DFA-425CFD8F6F6A}"/>
          </ac:picMkLst>
        </pc:picChg>
      </pc:sldMasterChg>
    </pc:docChg>
  </pc:docChgLst>
  <pc:docChgLst>
    <pc:chgData name="Boufagher, Mehdy" userId="S::115816@sidel.com::a8e82b8c-6d9f-4cb3-895e-aa54cfd06ba1" providerId="AD" clId="Web-{21033071-F0E3-4102-A1A5-7AD2398EAABF}"/>
    <pc:docChg chg="modSld">
      <pc:chgData name="Boufagher, Mehdy" userId="S::115816@sidel.com::a8e82b8c-6d9f-4cb3-895e-aa54cfd06ba1" providerId="AD" clId="Web-{21033071-F0E3-4102-A1A5-7AD2398EAABF}" dt="2024-06-26T09:48:25.394" v="6" actId="20577"/>
      <pc:docMkLst>
        <pc:docMk/>
      </pc:docMkLst>
      <pc:sldChg chg="modSp">
        <pc:chgData name="Boufagher, Mehdy" userId="S::115816@sidel.com::a8e82b8c-6d9f-4cb3-895e-aa54cfd06ba1" providerId="AD" clId="Web-{21033071-F0E3-4102-A1A5-7AD2398EAABF}" dt="2024-06-26T09:48:25.394" v="6" actId="20577"/>
        <pc:sldMkLst>
          <pc:docMk/>
          <pc:sldMk cId="3562233701" sldId="2147481519"/>
        </pc:sldMkLst>
        <pc:spChg chg="mod">
          <ac:chgData name="Boufagher, Mehdy" userId="S::115816@sidel.com::a8e82b8c-6d9f-4cb3-895e-aa54cfd06ba1" providerId="AD" clId="Web-{21033071-F0E3-4102-A1A5-7AD2398EAABF}" dt="2024-06-26T09:48:25.394" v="6" actId="20577"/>
          <ac:spMkLst>
            <pc:docMk/>
            <pc:sldMk cId="3562233701" sldId="2147481519"/>
            <ac:spMk id="62" creationId="{C8150B97-541C-BC17-A789-56F8312ED4DB}"/>
          </ac:spMkLst>
        </pc:spChg>
      </pc:sldChg>
    </pc:docChg>
  </pc:docChgLst>
  <pc:docChgLst>
    <pc:chgData name="Boufagher, Mehdy" userId="S::115816@sidel.com::a8e82b8c-6d9f-4cb3-895e-aa54cfd06ba1" providerId="AD" clId="Web-{314CEBD3-50DE-4C2A-90A5-A80D27FA33B9}"/>
    <pc:docChg chg="modSld">
      <pc:chgData name="Boufagher, Mehdy" userId="S::115816@sidel.com::a8e82b8c-6d9f-4cb3-895e-aa54cfd06ba1" providerId="AD" clId="Web-{314CEBD3-50DE-4C2A-90A5-A80D27FA33B9}" dt="2024-05-14T08:47:30.331" v="5" actId="20577"/>
      <pc:docMkLst>
        <pc:docMk/>
      </pc:docMkLst>
      <pc:sldChg chg="addSp delSp modSp">
        <pc:chgData name="Boufagher, Mehdy" userId="S::115816@sidel.com::a8e82b8c-6d9f-4cb3-895e-aa54cfd06ba1" providerId="AD" clId="Web-{314CEBD3-50DE-4C2A-90A5-A80D27FA33B9}" dt="2024-05-14T08:47:30.331" v="5" actId="20577"/>
        <pc:sldMkLst>
          <pc:docMk/>
          <pc:sldMk cId="3562233701" sldId="2147481519"/>
        </pc:sldMkLst>
        <pc:spChg chg="mod topLvl">
          <ac:chgData name="Boufagher, Mehdy" userId="S::115816@sidel.com::a8e82b8c-6d9f-4cb3-895e-aa54cfd06ba1" providerId="AD" clId="Web-{314CEBD3-50DE-4C2A-90A5-A80D27FA33B9}" dt="2024-05-14T08:47:21.971" v="1"/>
          <ac:spMkLst>
            <pc:docMk/>
            <pc:sldMk cId="3562233701" sldId="2147481519"/>
            <ac:spMk id="54" creationId="{D88D3AC9-2E60-C411-DBE1-E42194A6EE2F}"/>
          </ac:spMkLst>
        </pc:spChg>
        <pc:spChg chg="add del mod topLvl">
          <ac:chgData name="Boufagher, Mehdy" userId="S::115816@sidel.com::a8e82b8c-6d9f-4cb3-895e-aa54cfd06ba1" providerId="AD" clId="Web-{314CEBD3-50DE-4C2A-90A5-A80D27FA33B9}" dt="2024-05-14T08:47:30.331" v="5" actId="20577"/>
          <ac:spMkLst>
            <pc:docMk/>
            <pc:sldMk cId="3562233701" sldId="2147481519"/>
            <ac:spMk id="55" creationId="{E5DD7732-363C-F4DA-A84D-B3E8AF3EFD06}"/>
          </ac:spMkLst>
        </pc:spChg>
        <pc:grpChg chg="add del">
          <ac:chgData name="Boufagher, Mehdy" userId="S::115816@sidel.com::a8e82b8c-6d9f-4cb3-895e-aa54cfd06ba1" providerId="AD" clId="Web-{314CEBD3-50DE-4C2A-90A5-A80D27FA33B9}" dt="2024-05-14T08:47:21.971" v="1"/>
          <ac:grpSpMkLst>
            <pc:docMk/>
            <pc:sldMk cId="3562233701" sldId="2147481519"/>
            <ac:grpSpMk id="53" creationId="{AC61FE2B-F443-A0EE-09FE-18283CF93C4A}"/>
          </ac:grpSpMkLst>
        </pc:grpChg>
      </pc:sldChg>
    </pc:docChg>
  </pc:docChgLst>
  <pc:docChgLst>
    <pc:chgData name="Faure, Didier" userId="791ba54c-1f49-4f2e-b537-01eab0413206" providerId="ADAL" clId="{178B6DEE-AF5C-4976-A740-7FAD9B7B45EA}"/>
    <pc:docChg chg="undo redo custSel modSld">
      <pc:chgData name="Faure, Didier" userId="791ba54c-1f49-4f2e-b537-01eab0413206" providerId="ADAL" clId="{178B6DEE-AF5C-4976-A740-7FAD9B7B45EA}" dt="2024-05-23T14:28:18.753" v="114" actId="20577"/>
      <pc:docMkLst>
        <pc:docMk/>
      </pc:docMkLst>
      <pc:sldChg chg="modSp mod">
        <pc:chgData name="Faure, Didier" userId="791ba54c-1f49-4f2e-b537-01eab0413206" providerId="ADAL" clId="{178B6DEE-AF5C-4976-A740-7FAD9B7B45EA}" dt="2024-05-23T14:28:18.753" v="114" actId="20577"/>
        <pc:sldMkLst>
          <pc:docMk/>
          <pc:sldMk cId="3562233701" sldId="2147481519"/>
        </pc:sldMkLst>
        <pc:spChg chg="mod">
          <ac:chgData name="Faure, Didier" userId="791ba54c-1f49-4f2e-b537-01eab0413206" providerId="ADAL" clId="{178B6DEE-AF5C-4976-A740-7FAD9B7B45EA}" dt="2024-05-23T14:28:08.397" v="113" actId="20577"/>
          <ac:spMkLst>
            <pc:docMk/>
            <pc:sldMk cId="3562233701" sldId="2147481519"/>
            <ac:spMk id="2" creationId="{EA3DF085-CA30-37CB-DDB5-DAFB7BABABE4}"/>
          </ac:spMkLst>
        </pc:spChg>
        <pc:spChg chg="mod">
          <ac:chgData name="Faure, Didier" userId="791ba54c-1f49-4f2e-b537-01eab0413206" providerId="ADAL" clId="{178B6DEE-AF5C-4976-A740-7FAD9B7B45EA}" dt="2024-05-23T14:28:18.753" v="114" actId="20577"/>
          <ac:spMkLst>
            <pc:docMk/>
            <pc:sldMk cId="3562233701" sldId="2147481519"/>
            <ac:spMk id="65" creationId="{6F5CBB1E-7EAD-1268-BE31-C74056578596}"/>
          </ac:spMkLst>
        </pc:spChg>
        <pc:spChg chg="mod">
          <ac:chgData name="Faure, Didier" userId="791ba54c-1f49-4f2e-b537-01eab0413206" providerId="ADAL" clId="{178B6DEE-AF5C-4976-A740-7FAD9B7B45EA}" dt="2024-05-23T14:27:36.348" v="98" actId="1036"/>
          <ac:spMkLst>
            <pc:docMk/>
            <pc:sldMk cId="3562233701" sldId="2147481519"/>
            <ac:spMk id="67" creationId="{1707BAA9-DCA5-5E2B-3C1B-986695A9A3BD}"/>
          </ac:spMkLst>
        </pc:spChg>
        <pc:spChg chg="mod">
          <ac:chgData name="Faure, Didier" userId="791ba54c-1f49-4f2e-b537-01eab0413206" providerId="ADAL" clId="{178B6DEE-AF5C-4976-A740-7FAD9B7B45EA}" dt="2024-05-23T14:27:36.348" v="98" actId="1036"/>
          <ac:spMkLst>
            <pc:docMk/>
            <pc:sldMk cId="3562233701" sldId="2147481519"/>
            <ac:spMk id="68" creationId="{7DE98027-5F83-A5FC-4337-E3E1E304AA6F}"/>
          </ac:spMkLst>
        </pc:spChg>
        <pc:grpChg chg="mod">
          <ac:chgData name="Faure, Didier" userId="791ba54c-1f49-4f2e-b537-01eab0413206" providerId="ADAL" clId="{178B6DEE-AF5C-4976-A740-7FAD9B7B45EA}" dt="2024-05-23T14:27:36.348" v="98" actId="1036"/>
          <ac:grpSpMkLst>
            <pc:docMk/>
            <pc:sldMk cId="3562233701" sldId="2147481519"/>
            <ac:grpSpMk id="49" creationId="{490ED495-63AE-8B1F-4398-41F98B2EF32B}"/>
          </ac:grpSpMkLst>
        </pc:gr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9/07/2024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9/07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858838"/>
            <a:ext cx="5635625" cy="3170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45181" y="4273030"/>
            <a:ext cx="6132739" cy="433788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10" Type="http://schemas.openxmlformats.org/officeDocument/2006/relationships/image" Target="../media/image8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microsoft.com/office/2007/relationships/hdphoto" Target="../media/hdphoto2.wdp"/><Relationship Id="rId10" Type="http://schemas.openxmlformats.org/officeDocument/2006/relationships/image" Target="../media/image10.svg"/><Relationship Id="rId4" Type="http://schemas.openxmlformats.org/officeDocument/2006/relationships/image" Target="../media/image5.png"/><Relationship Id="rId9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FA2510D7-CC17-FE52-1049-CBA1E7AE4D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5951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84243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896600" cy="615553"/>
          </a:xfrm>
        </p:spPr>
        <p:txBody>
          <a:bodyPr/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095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4BF53E07-51CC-1A4E-979B-1B04FA13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4231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435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06E0756-7972-6F73-2124-3B1EDC974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5544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7F48235E-C0A5-9B60-C41E-3DB78AD36329}"/>
              </a:ext>
            </a:extLst>
          </p:cNvPr>
          <p:cNvSpPr/>
          <p:nvPr userDrawn="1"/>
        </p:nvSpPr>
        <p:spPr>
          <a:xfrm>
            <a:off x="0" y="5984875"/>
            <a:ext cx="12192000" cy="403173"/>
          </a:xfrm>
          <a:prstGeom prst="rect">
            <a:avLst/>
          </a:prstGeom>
          <a:gradFill flip="none" rotWithShape="1"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388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77"/>
            <a:ext cx="6338711" cy="449579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7394222" y="1489077"/>
            <a:ext cx="4126795" cy="449579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BDA5F96-A3A5-A34E-A335-BB9C1E649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Subhead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940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024F1314-518B-4926-0D71-6F6B692106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5090" y="0"/>
            <a:ext cx="12207089" cy="63832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2CD3F38A-7F98-AA44-B64F-90F203FAF5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3600" y="1489081"/>
            <a:ext cx="5183717" cy="2139949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A924745B-0FCD-EC44-8F63-62B2A920A7D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5717" y="3844930"/>
            <a:ext cx="5181600" cy="2139949"/>
          </a:xfrm>
        </p:spPr>
        <p:txBody>
          <a:bodyPr/>
          <a:lstStyle/>
          <a:p>
            <a:pPr lvl="0"/>
            <a:r>
              <a:rPr lang="en-GB" noProof="0" dirty="0"/>
              <a:t>Click in the icon to add an imag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8CA1F3E-39BE-F94F-B5F6-4DE5F975BA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5188" y="1489075"/>
            <a:ext cx="5185833" cy="2139950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1923CA74-2F1B-5C44-83FB-58C3020A0C6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5188" y="3844930"/>
            <a:ext cx="5185833" cy="21399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GB" noProof="0" dirty="0"/>
              <a:t>Click in the icon to add an image</a:t>
            </a:r>
          </a:p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0867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24506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>
            <a:extLst>
              <a:ext uri="{FF2B5EF4-FFF2-40B4-BE49-F238E27FC236}">
                <a16:creationId xmlns:a16="http://schemas.microsoft.com/office/drawing/2014/main" id="{001BCEA2-5E47-2DC8-6444-F41DACA365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7C94DC8-FCBD-1750-1EF4-3EB5A10EB81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14" name="Rectangle 2">
            <a:extLst>
              <a:ext uri="{FF2B5EF4-FFF2-40B4-BE49-F238E27FC236}">
                <a16:creationId xmlns:a16="http://schemas.microsoft.com/office/drawing/2014/main" id="{B4606B1D-9367-5D83-7BA1-3A214F707FF3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0B3FF4E0-797F-3036-9F5D-4B329247ED71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Figura a mano libera 15">
            <a:extLst>
              <a:ext uri="{FF2B5EF4-FFF2-40B4-BE49-F238E27FC236}">
                <a16:creationId xmlns:a16="http://schemas.microsoft.com/office/drawing/2014/main" id="{9ED2AC75-4AF3-B7BA-08A2-6B0FD27A3A3E}"/>
              </a:ext>
            </a:extLst>
          </p:cNvPr>
          <p:cNvSpPr/>
          <p:nvPr userDrawn="1"/>
        </p:nvSpPr>
        <p:spPr>
          <a:xfrm>
            <a:off x="6462942" y="0"/>
            <a:ext cx="3806928" cy="5216400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pic>
        <p:nvPicPr>
          <p:cNvPr id="3" name="Elemento grafico 2">
            <a:extLst>
              <a:ext uri="{FF2B5EF4-FFF2-40B4-BE49-F238E27FC236}">
                <a16:creationId xmlns:a16="http://schemas.microsoft.com/office/drawing/2014/main" id="{011EBE87-D1BC-586C-2B04-D84C6D5D1C6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63137" y="6473815"/>
            <a:ext cx="968827" cy="26125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2558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0399F161-3440-D07E-2547-C82CC7565C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3172"/>
          <a:stretch/>
        </p:blipFill>
        <p:spPr>
          <a:xfrm>
            <a:off x="0" y="0"/>
            <a:ext cx="12192000" cy="6880485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9767EF98-B5CE-F584-BCA9-4C53CE9E2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6844" y="-11045"/>
            <a:ext cx="6685155" cy="6867981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0BC8C9E3-55BD-8333-FE46-4616BA64396B}"/>
              </a:ext>
            </a:extLst>
          </p:cNvPr>
          <p:cNvSpPr/>
          <p:nvPr userDrawn="1"/>
        </p:nvSpPr>
        <p:spPr>
          <a:xfrm>
            <a:off x="6462942" y="0"/>
            <a:ext cx="3806928" cy="5218043"/>
          </a:xfrm>
          <a:custGeom>
            <a:avLst/>
            <a:gdLst>
              <a:gd name="connsiteX0" fmla="*/ 3005426 w 3806928"/>
              <a:gd name="connsiteY0" fmla="*/ 0 h 5218043"/>
              <a:gd name="connsiteX1" fmla="*/ 3806928 w 3806928"/>
              <a:gd name="connsiteY1" fmla="*/ 0 h 5218043"/>
              <a:gd name="connsiteX2" fmla="*/ 801502 w 3806928"/>
              <a:gd name="connsiteY2" fmla="*/ 5218043 h 5218043"/>
              <a:gd name="connsiteX3" fmla="*/ 0 w 3806928"/>
              <a:gd name="connsiteY3" fmla="*/ 5218043 h 521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6928" h="5218043">
                <a:moveTo>
                  <a:pt x="3005426" y="0"/>
                </a:moveTo>
                <a:lnTo>
                  <a:pt x="3806928" y="0"/>
                </a:lnTo>
                <a:lnTo>
                  <a:pt x="801502" y="5218043"/>
                </a:lnTo>
                <a:lnTo>
                  <a:pt x="0" y="5218043"/>
                </a:lnTo>
                <a:close/>
              </a:path>
            </a:pathLst>
          </a:custGeom>
          <a:solidFill>
            <a:srgbClr val="E74B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/>
          </a:p>
        </p:txBody>
      </p:sp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873954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313665F9-F35E-7C8C-0981-6678A62921F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775522" y="5837943"/>
            <a:ext cx="2055875" cy="10155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7324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1D8060-5D9C-5C27-D604-1DBA7EC478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617B576C-4226-6989-CAFA-93D5D9D39B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0F23EA-ED23-5CD0-E54D-4DA26796A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55149-1027-4928-B97C-51C982D5445E}" type="datetime1">
              <a:rPr lang="fr-FR" smtClean="0"/>
              <a:t>09/07/2024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4BEAF53-7F52-376D-4726-8C9A8C88AA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0EADD95-43DE-E783-487E-FE521710B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6CC48-9679-4724-9497-8C7D98F6F85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5356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9692612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99" imgH="399" progId="TCLayout.ActiveDocument.1">
                  <p:embed/>
                </p:oleObj>
              </mc:Choice>
              <mc:Fallback>
                <p:oleObj name="think-cell Folie" r:id="rId13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it-IT" noProof="1"/>
              <a:t>Fare clic per modificare lo stile del titolo dello schema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6884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468815B7-2E8A-4978-BD78-431993C37F38}"/>
              </a:ext>
            </a:extLst>
          </p:cNvPr>
          <p:cNvSpPr txBox="1"/>
          <p:nvPr userDrawn="1"/>
        </p:nvSpPr>
        <p:spPr>
          <a:xfrm>
            <a:off x="5837111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700" dirty="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</a:p>
        </p:txBody>
      </p:sp>
      <p:sp>
        <p:nvSpPr>
          <p:cNvPr id="8" name="Espace réservé de la date 4">
            <a:extLst>
              <a:ext uri="{FF2B5EF4-FFF2-40B4-BE49-F238E27FC236}">
                <a16:creationId xmlns:a16="http://schemas.microsoft.com/office/drawing/2014/main" id="{BCEE0BB7-B61E-9FD1-FA9A-11677F980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47449" y="6580959"/>
            <a:ext cx="944551" cy="27704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85FD05DB-AE28-40FF-B8B4-FC47C730394E}" type="datetime1">
              <a:rPr lang="fr-FR" smtClean="0"/>
              <a:t>09/07/2024</a:t>
            </a:fld>
            <a:endParaRPr lang="fr-FR" dirty="0"/>
          </a:p>
        </p:txBody>
      </p:sp>
    </p:spTree>
    <p:custDataLst>
      <p:tags r:id="rId11"/>
    </p:custDataLst>
    <p:extLst>
      <p:ext uri="{BB962C8B-B14F-4D97-AF65-F5344CB8AC3E}">
        <p14:creationId xmlns:p14="http://schemas.microsoft.com/office/powerpoint/2010/main" val="42818365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1" r:id="rId3"/>
    <p:sldLayoutId id="2147483705" r:id="rId4"/>
    <p:sldLayoutId id="2147483702" r:id="rId5"/>
    <p:sldLayoutId id="2147483706" r:id="rId6"/>
    <p:sldLayoutId id="2147483703" r:id="rId7"/>
    <p:sldLayoutId id="2147483704" r:id="rId8"/>
    <p:sldLayoutId id="2147483714" r:id="rId9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3" pos="544" userDrawn="1">
          <p15:clr>
            <a:srgbClr val="F26B43"/>
          </p15:clr>
        </p15:guide>
        <p15:guide id="5" pos="725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7423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microsoft.com/office/2007/relationships/hdphoto" Target="../media/hdphoto3.wdp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png"/><Relationship Id="rId11" Type="http://schemas.openxmlformats.org/officeDocument/2006/relationships/image" Target="../media/image16.png"/><Relationship Id="rId5" Type="http://schemas.microsoft.com/office/2007/relationships/hdphoto" Target="../media/hdphoto4.wdp"/><Relationship Id="rId10" Type="http://schemas.openxmlformats.org/officeDocument/2006/relationships/image" Target="../media/image15.png"/><Relationship Id="rId4" Type="http://schemas.openxmlformats.org/officeDocument/2006/relationships/image" Target="../media/image12.png"/><Relationship Id="rId9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egnaposto testo 38">
            <a:extLst>
              <a:ext uri="{FF2B5EF4-FFF2-40B4-BE49-F238E27FC236}">
                <a16:creationId xmlns:a16="http://schemas.microsoft.com/office/drawing/2014/main" id="{462D28B0-096D-D35E-8480-2F192B64945A}"/>
              </a:ext>
            </a:extLst>
          </p:cNvPr>
          <p:cNvSpPr txBox="1">
            <a:spLocks/>
          </p:cNvSpPr>
          <p:nvPr/>
        </p:nvSpPr>
        <p:spPr>
          <a:xfrm>
            <a:off x="2631788" y="1599175"/>
            <a:ext cx="3240000" cy="5006245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r>
              <a:rPr lang="en-US" altLang="fr-FR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ER BOTTLE QUALITY CONSISTENCY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sed loop process control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aranteed bottle quality whatever the production conditions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US" altLang="fr-FR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r>
              <a:rPr lang="en-US" altLang="fr-FR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Y TO USE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-free system</a:t>
            </a:r>
            <a:endParaRPr lang="en-US" altLang="fr-FR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ibration-free / </a:t>
            </a:r>
            <a:r>
              <a:rPr lang="en-US" altLang="fr-FR" sz="1200" dirty="0">
                <a:latin typeface="Arial" panose="020B0604020202020204" pitchFamily="34" charset="0"/>
                <a:cs typeface="Arial" panose="020B0604020202020204" pitchFamily="34" charset="0"/>
              </a:rPr>
              <a:t>Immediate start up : auto adjustment</a:t>
            </a:r>
          </a:p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endParaRPr lang="en-US" altLang="fr-FR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r>
              <a:rPr lang="en-US" altLang="fr-FR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SUSTAINABLE</a:t>
            </a:r>
            <a:endParaRPr lang="en-US" altLang="fr-FR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 destructive lab controls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es scrap produced by inconsistent material distribution</a:t>
            </a:r>
          </a:p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endParaRPr lang="en-US" altLang="fr-FR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r>
              <a:rPr lang="en-US" altLang="fr-FR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 EFFECTIVE 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d lab control 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ET</a:t>
            </a:r>
            <a:r>
              <a:rPr lang="en-US" altLang="fr-F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ality deviation management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US" altLang="fr-F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RELIABLE &amp; CALIBRATION-FREE,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cross a wide range of preforms - translucent, colored, virgin resin or </a:t>
            </a:r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ET</a:t>
            </a:r>
            <a:endParaRPr lang="en-US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endParaRPr lang="en-US" altLang="fr-FR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Font typeface="Wingdings" panose="05000000000000000000" pitchFamily="2" charset="2"/>
              <a:buNone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uppo 63">
            <a:extLst>
              <a:ext uri="{FF2B5EF4-FFF2-40B4-BE49-F238E27FC236}">
                <a16:creationId xmlns:a16="http://schemas.microsoft.com/office/drawing/2014/main" id="{B782813F-3496-38D5-905D-BF224DB6F91E}"/>
              </a:ext>
            </a:extLst>
          </p:cNvPr>
          <p:cNvGrpSpPr/>
          <p:nvPr/>
        </p:nvGrpSpPr>
        <p:grpSpPr>
          <a:xfrm>
            <a:off x="2630973" y="1295704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47" name="Rettangolo 65">
              <a:extLst>
                <a:ext uri="{FF2B5EF4-FFF2-40B4-BE49-F238E27FC236}">
                  <a16:creationId xmlns:a16="http://schemas.microsoft.com/office/drawing/2014/main" id="{12810C6C-0112-8A49-891F-CF41C6042719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CasellaDiTesto 66">
              <a:extLst>
                <a:ext uri="{FF2B5EF4-FFF2-40B4-BE49-F238E27FC236}">
                  <a16:creationId xmlns:a16="http://schemas.microsoft.com/office/drawing/2014/main" id="{3EE1F40A-E823-952A-9BA1-159DD931E625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NEFITS</a:t>
              </a:r>
            </a:p>
          </p:txBody>
        </p:sp>
      </p:grpSp>
      <p:grpSp>
        <p:nvGrpSpPr>
          <p:cNvPr id="49" name="Gruppo 41">
            <a:extLst>
              <a:ext uri="{FF2B5EF4-FFF2-40B4-BE49-F238E27FC236}">
                <a16:creationId xmlns:a16="http://schemas.microsoft.com/office/drawing/2014/main" id="{490ED495-63AE-8B1F-4398-41F98B2EF32B}"/>
              </a:ext>
            </a:extLst>
          </p:cNvPr>
          <p:cNvGrpSpPr/>
          <p:nvPr/>
        </p:nvGrpSpPr>
        <p:grpSpPr>
          <a:xfrm>
            <a:off x="0" y="0"/>
            <a:ext cx="2352565" cy="6858000"/>
            <a:chOff x="-3505" y="0"/>
            <a:chExt cx="2352565" cy="5921128"/>
          </a:xfrm>
        </p:grpSpPr>
        <p:pic>
          <p:nvPicPr>
            <p:cNvPr id="50" name="Immagine 50">
              <a:extLst>
                <a:ext uri="{FF2B5EF4-FFF2-40B4-BE49-F238E27FC236}">
                  <a16:creationId xmlns:a16="http://schemas.microsoft.com/office/drawing/2014/main" id="{6BC40772-D13F-E0CB-2F0E-9240644645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63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440" y="0"/>
              <a:ext cx="2349500" cy="5921128"/>
            </a:xfrm>
            <a:prstGeom prst="rect">
              <a:avLst/>
            </a:prstGeom>
          </p:spPr>
        </p:pic>
        <p:pic>
          <p:nvPicPr>
            <p:cNvPr id="51" name="Immagine 51">
              <a:extLst>
                <a:ext uri="{FF2B5EF4-FFF2-40B4-BE49-F238E27FC236}">
                  <a16:creationId xmlns:a16="http://schemas.microsoft.com/office/drawing/2014/main" id="{70893A48-FCC4-F809-B411-354DA85970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4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3505" y="1"/>
              <a:ext cx="2349500" cy="4041615"/>
            </a:xfrm>
            <a:prstGeom prst="rect">
              <a:avLst/>
            </a:prstGeom>
          </p:spPr>
        </p:pic>
      </p:grpSp>
      <p:sp>
        <p:nvSpPr>
          <p:cNvPr id="52" name="Segnaposto testo 38">
            <a:extLst>
              <a:ext uri="{FF2B5EF4-FFF2-40B4-BE49-F238E27FC236}">
                <a16:creationId xmlns:a16="http://schemas.microsoft.com/office/drawing/2014/main" id="{2D983DB6-86B6-2BF3-FCC8-46E7B8EBA5A3}"/>
              </a:ext>
            </a:extLst>
          </p:cNvPr>
          <p:cNvSpPr txBox="1">
            <a:spLocks/>
          </p:cNvSpPr>
          <p:nvPr/>
        </p:nvSpPr>
        <p:spPr>
          <a:xfrm>
            <a:off x="6047646" y="1591269"/>
            <a:ext cx="3240000" cy="2831441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180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Font typeface="Wingdings" panose="05000000000000000000" pitchFamily="2" charset="2"/>
              <a:buNone/>
            </a:pPr>
            <a:r>
              <a:rPr lang="en-US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cise one-side measurement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using interferometric sensors</a:t>
            </a:r>
          </a:p>
          <a:p>
            <a:pPr marL="177800" lvl="1" indent="-107950">
              <a:tabLst>
                <a:tab pos="266700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4 measuring points to secure consistent bottle quality</a:t>
            </a:r>
          </a:p>
          <a:p>
            <a:pPr marL="177800" lvl="1" indent="-107950">
              <a:tabLst>
                <a:tab pos="266700" algn="l"/>
              </a:tabLst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07950">
              <a:tabLst>
                <a:tab pos="266700" algn="l"/>
              </a:tabLs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gh-precision measurements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+/- 2 µm</a:t>
            </a:r>
          </a:p>
          <a:p>
            <a:pPr marL="177800" lvl="1" indent="-107950">
              <a:tabLst>
                <a:tab pos="266700" algn="l"/>
              </a:tabLst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07950">
              <a:tabLst>
                <a:tab pos="266700" algn="l"/>
              </a:tabLs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bined with Vision system to check the bottle base injection point</a:t>
            </a:r>
          </a:p>
          <a:p>
            <a:pPr marL="177800" lvl="1" indent="-107950">
              <a:tabLst>
                <a:tab pos="266700" algn="l"/>
              </a:tabLst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07950">
              <a:tabLst>
                <a:tab pos="266700" algn="l"/>
              </a:tabLs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mbined with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Intelli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-Blower </a:t>
            </a:r>
          </a:p>
          <a:p>
            <a:pPr marL="177800" lvl="1" indent="-107950">
              <a:tabLst>
                <a:tab pos="266700" algn="l"/>
              </a:tabLs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07950">
              <a:tabLst>
                <a:tab pos="266700" algn="l"/>
              </a:tabLst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uto optimization of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reblow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&amp; heating</a:t>
            </a:r>
          </a:p>
        </p:txBody>
      </p:sp>
      <p:grpSp>
        <p:nvGrpSpPr>
          <p:cNvPr id="53" name="Gruppo 55">
            <a:extLst>
              <a:ext uri="{FF2B5EF4-FFF2-40B4-BE49-F238E27FC236}">
                <a16:creationId xmlns:a16="http://schemas.microsoft.com/office/drawing/2014/main" id="{AC61FE2B-F443-A0EE-09FE-18283CF93C4A}"/>
              </a:ext>
            </a:extLst>
          </p:cNvPr>
          <p:cNvGrpSpPr/>
          <p:nvPr/>
        </p:nvGrpSpPr>
        <p:grpSpPr>
          <a:xfrm>
            <a:off x="6046831" y="1287798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4" name="Rettangolo 56">
              <a:extLst>
                <a:ext uri="{FF2B5EF4-FFF2-40B4-BE49-F238E27FC236}">
                  <a16:creationId xmlns:a16="http://schemas.microsoft.com/office/drawing/2014/main" id="{D88D3AC9-2E60-C411-DBE1-E42194A6EE2F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CasellaDiTesto 57">
              <a:extLst>
                <a:ext uri="{FF2B5EF4-FFF2-40B4-BE49-F238E27FC236}">
                  <a16:creationId xmlns:a16="http://schemas.microsoft.com/office/drawing/2014/main" id="{E5DD7732-363C-F4DA-A84D-B3E8AF3EFD06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1949930" cy="230832"/>
            </a:xfrm>
            <a:prstGeom prst="rect">
              <a:avLst/>
            </a:prstGeom>
            <a:grpFill/>
          </p:spPr>
          <p:txBody>
            <a:bodyPr wrap="square" lIns="144000" tIns="0" rIns="0" bIns="0" rtlCol="0" anchor="t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CRIPTION</a:t>
              </a:r>
            </a:p>
          </p:txBody>
        </p:sp>
      </p:grpSp>
      <p:sp>
        <p:nvSpPr>
          <p:cNvPr id="56" name="Segnaposto testo 38">
            <a:extLst>
              <a:ext uri="{FF2B5EF4-FFF2-40B4-BE49-F238E27FC236}">
                <a16:creationId xmlns:a16="http://schemas.microsoft.com/office/drawing/2014/main" id="{4C4FC064-3AE4-BDB6-CE6E-ED90C2136D5A}"/>
              </a:ext>
            </a:extLst>
          </p:cNvPr>
          <p:cNvSpPr txBox="1">
            <a:spLocks/>
          </p:cNvSpPr>
          <p:nvPr/>
        </p:nvSpPr>
        <p:spPr>
          <a:xfrm>
            <a:off x="6046831" y="4910160"/>
            <a:ext cx="3240000" cy="1690703"/>
          </a:xfrm>
          <a:prstGeom prst="rect">
            <a:avLst/>
          </a:prstGeom>
          <a:gradFill>
            <a:gsLst>
              <a:gs pos="0">
                <a:srgbClr val="EDEFF5"/>
              </a:gs>
              <a:gs pos="82000">
                <a:srgbClr val="EBEDF4">
                  <a:alpha val="0"/>
                </a:srgbClr>
              </a:gs>
            </a:gsLst>
            <a:lin ang="16200000" scaled="1"/>
          </a:gradFill>
          <a:ln w="12700">
            <a:solidFill>
              <a:schemeClr val="bg1">
                <a:lumMod val="75000"/>
              </a:schemeClr>
            </a:solidFill>
          </a:ln>
        </p:spPr>
        <p:txBody>
          <a:bodyPr lIns="180000" tIns="144000" rIns="72000" bIns="14400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5800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3188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8988" indent="-10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6375" indent="-107388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None/>
              <a:defRPr/>
            </a:pPr>
            <a:r>
              <a:rPr lang="en-US" altLang="fr-FR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and CONNECTED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ed with </a:t>
            </a:r>
            <a:r>
              <a:rPr lang="en-US" altLang="fr-FR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-ON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d data analysis and statistics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chmark performance and parameter monitoring</a:t>
            </a:r>
          </a:p>
        </p:txBody>
      </p:sp>
      <p:grpSp>
        <p:nvGrpSpPr>
          <p:cNvPr id="57" name="Gruppo 59">
            <a:extLst>
              <a:ext uri="{FF2B5EF4-FFF2-40B4-BE49-F238E27FC236}">
                <a16:creationId xmlns:a16="http://schemas.microsoft.com/office/drawing/2014/main" id="{D682DAD1-ECF6-A60C-6984-9692AA5B5BA7}"/>
              </a:ext>
            </a:extLst>
          </p:cNvPr>
          <p:cNvGrpSpPr/>
          <p:nvPr/>
        </p:nvGrpSpPr>
        <p:grpSpPr>
          <a:xfrm>
            <a:off x="6046016" y="4606689"/>
            <a:ext cx="3240815" cy="302540"/>
            <a:chOff x="2632197" y="1288016"/>
            <a:chExt cx="3240815" cy="302540"/>
          </a:xfrm>
          <a:solidFill>
            <a:srgbClr val="575E62"/>
          </a:solidFill>
        </p:grpSpPr>
        <p:sp>
          <p:nvSpPr>
            <p:cNvPr id="58" name="Rettangolo 60">
              <a:extLst>
                <a:ext uri="{FF2B5EF4-FFF2-40B4-BE49-F238E27FC236}">
                  <a16:creationId xmlns:a16="http://schemas.microsoft.com/office/drawing/2014/main" id="{69C39850-2352-24DD-6104-10190B939056}"/>
                </a:ext>
              </a:extLst>
            </p:cNvPr>
            <p:cNvSpPr/>
            <p:nvPr userDrawn="1"/>
          </p:nvSpPr>
          <p:spPr>
            <a:xfrm>
              <a:off x="2632197" y="1288016"/>
              <a:ext cx="3240815" cy="30254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20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CasellaDiTesto 61">
              <a:extLst>
                <a:ext uri="{FF2B5EF4-FFF2-40B4-BE49-F238E27FC236}">
                  <a16:creationId xmlns:a16="http://schemas.microsoft.com/office/drawing/2014/main" id="{0946C61B-574F-2826-8F24-6605425CDEA4}"/>
                </a:ext>
              </a:extLst>
            </p:cNvPr>
            <p:cNvSpPr txBox="1"/>
            <p:nvPr userDrawn="1"/>
          </p:nvSpPr>
          <p:spPr>
            <a:xfrm>
              <a:off x="2632198" y="1328243"/>
              <a:ext cx="2887590" cy="230832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lIns="144000" tIns="0" rIns="0" bIns="0" rtlCol="0">
              <a:noAutofit/>
            </a:bodyPr>
            <a:lstStyle/>
            <a:p>
              <a:pPr algn="l"/>
              <a:r>
                <a:rPr lang="it-IT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VANCED SERVICES</a:t>
              </a:r>
            </a:p>
          </p:txBody>
        </p:sp>
      </p:grpSp>
      <p:sp>
        <p:nvSpPr>
          <p:cNvPr id="60" name="Segnaposto contenuto 4">
            <a:extLst>
              <a:ext uri="{FF2B5EF4-FFF2-40B4-BE49-F238E27FC236}">
                <a16:creationId xmlns:a16="http://schemas.microsoft.com/office/drawing/2014/main" id="{8DA02F4B-E452-8A61-0B03-BC6E2241BCCF}"/>
              </a:ext>
            </a:extLst>
          </p:cNvPr>
          <p:cNvSpPr txBox="1">
            <a:spLocks/>
          </p:cNvSpPr>
          <p:nvPr/>
        </p:nvSpPr>
        <p:spPr>
          <a:xfrm>
            <a:off x="9572624" y="1572693"/>
            <a:ext cx="2249489" cy="162229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contents</a:t>
            </a:r>
          </a:p>
        </p:txBody>
      </p:sp>
      <p:sp>
        <p:nvSpPr>
          <p:cNvPr id="61" name="Titel 1">
            <a:extLst>
              <a:ext uri="{FF2B5EF4-FFF2-40B4-BE49-F238E27FC236}">
                <a16:creationId xmlns:a16="http://schemas.microsoft.com/office/drawing/2014/main" id="{3E8F08BB-7384-E4FB-4CF7-BFAD3ED739A3}"/>
              </a:ext>
            </a:extLst>
          </p:cNvPr>
          <p:cNvSpPr txBox="1">
            <a:spLocks/>
          </p:cNvSpPr>
          <p:nvPr/>
        </p:nvSpPr>
        <p:spPr>
          <a:xfrm>
            <a:off x="2624443" y="334805"/>
            <a:ext cx="6793158" cy="4616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sz="3000" b="1" dirty="0">
                <a:solidFill>
                  <a:srgbClr val="E74B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l IntelliADJUST™ </a:t>
            </a:r>
            <a:r>
              <a:rPr lang="fr-FR" sz="3000" b="1" dirty="0">
                <a:solidFill>
                  <a:srgbClr val="E74B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Matrix</a:t>
            </a:r>
            <a:endParaRPr lang="en-GB" sz="3000" b="1" dirty="0">
              <a:solidFill>
                <a:srgbClr val="E74B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C8150B97-541C-BC17-A789-56F8312ED4DB}"/>
              </a:ext>
            </a:extLst>
          </p:cNvPr>
          <p:cNvSpPr txBox="1">
            <a:spLocks/>
          </p:cNvSpPr>
          <p:nvPr/>
        </p:nvSpPr>
        <p:spPr>
          <a:xfrm>
            <a:off x="2624439" y="864162"/>
            <a:ext cx="9245507" cy="3385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23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Ref. 2081 </a:t>
            </a:r>
          </a:p>
        </p:txBody>
      </p:sp>
      <p:sp>
        <p:nvSpPr>
          <p:cNvPr id="63" name="Segnaposto testo 13">
            <a:extLst>
              <a:ext uri="{FF2B5EF4-FFF2-40B4-BE49-F238E27FC236}">
                <a16:creationId xmlns:a16="http://schemas.microsoft.com/office/drawing/2014/main" id="{A80B108C-F084-D870-FFE1-699A4D7E5A9C}"/>
              </a:ext>
            </a:extLst>
          </p:cNvPr>
          <p:cNvSpPr txBox="1">
            <a:spLocks/>
          </p:cNvSpPr>
          <p:nvPr/>
        </p:nvSpPr>
        <p:spPr>
          <a:xfrm>
            <a:off x="210382" y="1581160"/>
            <a:ext cx="1963125" cy="371227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275 k€*</a:t>
            </a:r>
          </a:p>
        </p:txBody>
      </p:sp>
      <p:sp>
        <p:nvSpPr>
          <p:cNvPr id="64" name="TextBox 9">
            <a:extLst>
              <a:ext uri="{FF2B5EF4-FFF2-40B4-BE49-F238E27FC236}">
                <a16:creationId xmlns:a16="http://schemas.microsoft.com/office/drawing/2014/main" id="{DBADC5FC-5F63-742C-4471-FC03D2601782}"/>
              </a:ext>
            </a:extLst>
          </p:cNvPr>
          <p:cNvSpPr txBox="1"/>
          <p:nvPr/>
        </p:nvSpPr>
        <p:spPr>
          <a:xfrm>
            <a:off x="199050" y="1353590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 price: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Segnaposto testo 13">
            <a:extLst>
              <a:ext uri="{FF2B5EF4-FFF2-40B4-BE49-F238E27FC236}">
                <a16:creationId xmlns:a16="http://schemas.microsoft.com/office/drawing/2014/main" id="{6F5CBB1E-7EAD-1268-BE31-C74056578596}"/>
              </a:ext>
            </a:extLst>
          </p:cNvPr>
          <p:cNvSpPr txBox="1">
            <a:spLocks/>
          </p:cNvSpPr>
          <p:nvPr/>
        </p:nvSpPr>
        <p:spPr>
          <a:xfrm>
            <a:off x="199050" y="2295658"/>
            <a:ext cx="2042444" cy="380095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it-IT">
                <a:latin typeface="Arial" panose="020B0604020202020204" pitchFamily="34" charset="0"/>
                <a:cs typeface="Arial" panose="020B0604020202020204" pitchFamily="34" charset="0"/>
              </a:rPr>
              <a:t>years* 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(lab hours savings)</a:t>
            </a:r>
          </a:p>
        </p:txBody>
      </p:sp>
      <p:sp>
        <p:nvSpPr>
          <p:cNvPr id="66" name="TextBox 9">
            <a:extLst>
              <a:ext uri="{FF2B5EF4-FFF2-40B4-BE49-F238E27FC236}">
                <a16:creationId xmlns:a16="http://schemas.microsoft.com/office/drawing/2014/main" id="{E3D8C216-047A-0E7E-482B-070507816A1B}"/>
              </a:ext>
            </a:extLst>
          </p:cNvPr>
          <p:cNvSpPr txBox="1"/>
          <p:nvPr/>
        </p:nvSpPr>
        <p:spPr>
          <a:xfrm>
            <a:off x="199050" y="2049316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back estimation: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egnaposto testo 13">
            <a:extLst>
              <a:ext uri="{FF2B5EF4-FFF2-40B4-BE49-F238E27FC236}">
                <a16:creationId xmlns:a16="http://schemas.microsoft.com/office/drawing/2014/main" id="{1707BAA9-DCA5-5E2B-3C1B-986695A9A3BD}"/>
              </a:ext>
            </a:extLst>
          </p:cNvPr>
          <p:cNvSpPr txBox="1">
            <a:spLocks/>
          </p:cNvSpPr>
          <p:nvPr/>
        </p:nvSpPr>
        <p:spPr>
          <a:xfrm>
            <a:off x="199050" y="2991684"/>
            <a:ext cx="1963125" cy="360123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11 to 19 men*days</a:t>
            </a:r>
          </a:p>
        </p:txBody>
      </p:sp>
      <p:sp>
        <p:nvSpPr>
          <p:cNvPr id="68" name="TextBox 9">
            <a:extLst>
              <a:ext uri="{FF2B5EF4-FFF2-40B4-BE49-F238E27FC236}">
                <a16:creationId xmlns:a16="http://schemas.microsoft.com/office/drawing/2014/main" id="{7DE98027-5F83-A5FC-4337-E3E1E304AA6F}"/>
              </a:ext>
            </a:extLst>
          </p:cNvPr>
          <p:cNvSpPr txBox="1"/>
          <p:nvPr/>
        </p:nvSpPr>
        <p:spPr>
          <a:xfrm>
            <a:off x="199050" y="2745342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lation time: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Segnaposto testo 13">
            <a:extLst>
              <a:ext uri="{FF2B5EF4-FFF2-40B4-BE49-F238E27FC236}">
                <a16:creationId xmlns:a16="http://schemas.microsoft.com/office/drawing/2014/main" id="{25DACCD5-7A73-7525-1A8B-7E787DA1F44B}"/>
              </a:ext>
            </a:extLst>
          </p:cNvPr>
          <p:cNvSpPr txBox="1">
            <a:spLocks/>
          </p:cNvSpPr>
          <p:nvPr/>
        </p:nvSpPr>
        <p:spPr>
          <a:xfrm>
            <a:off x="199050" y="3670399"/>
            <a:ext cx="2150010" cy="393248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4 to 9 days</a:t>
            </a:r>
          </a:p>
          <a:p>
            <a:r>
              <a:rPr lang="it-IT" sz="800" dirty="0">
                <a:latin typeface="Arial" panose="020B0604020202020204" pitchFamily="34" charset="0"/>
                <a:cs typeface="Arial" panose="020B0604020202020204" pitchFamily="34" charset="0"/>
              </a:rPr>
              <a:t>(depending on blower initial configuration)</a:t>
            </a:r>
          </a:p>
        </p:txBody>
      </p:sp>
      <p:sp>
        <p:nvSpPr>
          <p:cNvPr id="70" name="TextBox 9">
            <a:extLst>
              <a:ext uri="{FF2B5EF4-FFF2-40B4-BE49-F238E27FC236}">
                <a16:creationId xmlns:a16="http://schemas.microsoft.com/office/drawing/2014/main" id="{93B8876F-D75E-DDD0-807A-A249C3FADAED}"/>
              </a:ext>
            </a:extLst>
          </p:cNvPr>
          <p:cNvSpPr txBox="1"/>
          <p:nvPr/>
        </p:nvSpPr>
        <p:spPr>
          <a:xfrm>
            <a:off x="199050" y="3424057"/>
            <a:ext cx="1974457" cy="15798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downtime: </a:t>
            </a:r>
          </a:p>
        </p:txBody>
      </p:sp>
      <p:sp>
        <p:nvSpPr>
          <p:cNvPr id="72" name="TextBox 9">
            <a:extLst>
              <a:ext uri="{FF2B5EF4-FFF2-40B4-BE49-F238E27FC236}">
                <a16:creationId xmlns:a16="http://schemas.microsoft.com/office/drawing/2014/main" id="{1FDECD4F-9DF8-6612-491B-34F87349BAA1}"/>
              </a:ext>
            </a:extLst>
          </p:cNvPr>
          <p:cNvSpPr txBox="1"/>
          <p:nvPr/>
        </p:nvSpPr>
        <p:spPr>
          <a:xfrm>
            <a:off x="199050" y="4813987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be combined with:</a:t>
            </a:r>
            <a:endParaRPr lang="en-GB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Segnaposto testo 13">
            <a:extLst>
              <a:ext uri="{FF2B5EF4-FFF2-40B4-BE49-F238E27FC236}">
                <a16:creationId xmlns:a16="http://schemas.microsoft.com/office/drawing/2014/main" id="{12EB70C3-9807-83CD-C6D7-8DA816CD10C5}"/>
              </a:ext>
            </a:extLst>
          </p:cNvPr>
          <p:cNvSpPr txBox="1">
            <a:spLocks/>
          </p:cNvSpPr>
          <p:nvPr/>
        </p:nvSpPr>
        <p:spPr>
          <a:xfrm>
            <a:off x="199050" y="6307103"/>
            <a:ext cx="1963125" cy="549169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Matrix</a:t>
            </a:r>
          </a:p>
          <a:p>
            <a:pPr>
              <a:buClr>
                <a:srgbClr val="E74B00"/>
              </a:buClr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for cylindrical bottle only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9">
            <a:extLst>
              <a:ext uri="{FF2B5EF4-FFF2-40B4-BE49-F238E27FC236}">
                <a16:creationId xmlns:a16="http://schemas.microsoft.com/office/drawing/2014/main" id="{E443DD28-22B4-64F2-4A99-C128192B85BB}"/>
              </a:ext>
            </a:extLst>
          </p:cNvPr>
          <p:cNvSpPr txBox="1"/>
          <p:nvPr/>
        </p:nvSpPr>
        <p:spPr>
          <a:xfrm>
            <a:off x="199050" y="6160992"/>
            <a:ext cx="1974457" cy="17084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r>
              <a:rPr lang="en-US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application: </a:t>
            </a:r>
          </a:p>
        </p:txBody>
      </p:sp>
      <p:sp>
        <p:nvSpPr>
          <p:cNvPr id="75" name="Segnaposto testo 13">
            <a:extLst>
              <a:ext uri="{FF2B5EF4-FFF2-40B4-BE49-F238E27FC236}">
                <a16:creationId xmlns:a16="http://schemas.microsoft.com/office/drawing/2014/main" id="{ED133E87-7334-5DAE-45D3-5C83D05C9F54}"/>
              </a:ext>
            </a:extLst>
          </p:cNvPr>
          <p:cNvSpPr txBox="1">
            <a:spLocks/>
          </p:cNvSpPr>
          <p:nvPr/>
        </p:nvSpPr>
        <p:spPr>
          <a:xfrm>
            <a:off x="199050" y="5051178"/>
            <a:ext cx="2150010" cy="973343"/>
          </a:xfrm>
          <a:prstGeom prst="rect">
            <a:avLst/>
          </a:prstGeom>
        </p:spPr>
        <p:txBody>
          <a:bodyPr wrap="square"/>
          <a:lstStyle>
            <a:lvl1pPr marL="99450" marR="0" indent="-99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Char char="§"/>
              <a:tabLst/>
              <a:defRPr sz="1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E74B00"/>
              </a:buClr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Quartz bars zone1 - #2032</a:t>
            </a:r>
          </a:p>
          <a:p>
            <a:pPr>
              <a:buClr>
                <a:srgbClr val="E74B00"/>
              </a:buClr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Oriented Lamps - #2086</a:t>
            </a:r>
          </a:p>
          <a:p>
            <a:pPr>
              <a:buClr>
                <a:srgbClr val="E74B00"/>
              </a:buClr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Dual Entry Oven Ventilation - #2087</a:t>
            </a:r>
          </a:p>
          <a:p>
            <a:pPr>
              <a:buClr>
                <a:srgbClr val="E74B00"/>
              </a:buClr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SIS Vision System #2063</a:t>
            </a:r>
          </a:p>
        </p:txBody>
      </p:sp>
      <p:sp>
        <p:nvSpPr>
          <p:cNvPr id="76" name="Segnaposto testo 6">
            <a:extLst>
              <a:ext uri="{FF2B5EF4-FFF2-40B4-BE49-F238E27FC236}">
                <a16:creationId xmlns:a16="http://schemas.microsoft.com/office/drawing/2014/main" id="{C2B15D47-420C-031E-3EC2-32FFA8D3CD17}"/>
              </a:ext>
            </a:extLst>
          </p:cNvPr>
          <p:cNvSpPr txBox="1">
            <a:spLocks/>
          </p:cNvSpPr>
          <p:nvPr/>
        </p:nvSpPr>
        <p:spPr>
          <a:xfrm>
            <a:off x="9572625" y="1300846"/>
            <a:ext cx="2249488" cy="206567"/>
          </a:xfrm>
          <a:prstGeom prst="rect">
            <a:avLst/>
          </a:prstGeom>
        </p:spPr>
        <p:txBody>
          <a:bodyPr lIns="72000" tIns="72000" rIns="72000" bIns="7200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b="1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dirty="0">
                <a:solidFill>
                  <a:srgbClr val="E74B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 text style</a:t>
            </a:r>
          </a:p>
        </p:txBody>
      </p:sp>
      <p:sp>
        <p:nvSpPr>
          <p:cNvPr id="77" name="Rettangolo 40">
            <a:extLst>
              <a:ext uri="{FF2B5EF4-FFF2-40B4-BE49-F238E27FC236}">
                <a16:creationId xmlns:a16="http://schemas.microsoft.com/office/drawing/2014/main" id="{CEB518CC-88F0-C974-99B5-11D72930C682}"/>
              </a:ext>
            </a:extLst>
          </p:cNvPr>
          <p:cNvSpPr/>
          <p:nvPr/>
        </p:nvSpPr>
        <p:spPr>
          <a:xfrm>
            <a:off x="9563271" y="1290636"/>
            <a:ext cx="2259562" cy="1915180"/>
          </a:xfrm>
          <a:prstGeom prst="rect">
            <a:avLst/>
          </a:prstGeom>
          <a:noFill/>
          <a:ln w="12700">
            <a:solidFill>
              <a:srgbClr val="C1C2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ttangolo arrotondato 79">
            <a:extLst>
              <a:ext uri="{FF2B5EF4-FFF2-40B4-BE49-F238E27FC236}">
                <a16:creationId xmlns:a16="http://schemas.microsoft.com/office/drawing/2014/main" id="{7F8FF035-9BA4-F3F0-474B-3B8CA92BC57C}"/>
              </a:ext>
            </a:extLst>
          </p:cNvPr>
          <p:cNvSpPr/>
          <p:nvPr/>
        </p:nvSpPr>
        <p:spPr>
          <a:xfrm>
            <a:off x="9489109" y="377702"/>
            <a:ext cx="2380629" cy="396000"/>
          </a:xfrm>
          <a:prstGeom prst="roundRect">
            <a:avLst>
              <a:gd name="adj" fmla="val 50000"/>
            </a:avLst>
          </a:prstGeom>
          <a:solidFill>
            <a:srgbClr val="E74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n>
                <a:noFill/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egnaposto testo 71">
            <a:extLst>
              <a:ext uri="{FF2B5EF4-FFF2-40B4-BE49-F238E27FC236}">
                <a16:creationId xmlns:a16="http://schemas.microsoft.com/office/drawing/2014/main" id="{E613E64A-8215-A989-D201-A1DE6E0C731D}"/>
              </a:ext>
            </a:extLst>
          </p:cNvPr>
          <p:cNvSpPr txBox="1">
            <a:spLocks/>
          </p:cNvSpPr>
          <p:nvPr/>
        </p:nvSpPr>
        <p:spPr>
          <a:xfrm>
            <a:off x="9657298" y="377825"/>
            <a:ext cx="2034723" cy="395288"/>
          </a:xfrm>
          <a:prstGeom prst="rect">
            <a:avLst/>
          </a:prstGeom>
        </p:spPr>
        <p:txBody>
          <a:bodyPr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Product Quality</a:t>
            </a:r>
          </a:p>
        </p:txBody>
      </p:sp>
      <p:sp>
        <p:nvSpPr>
          <p:cNvPr id="83" name="TextBox 9">
            <a:extLst>
              <a:ext uri="{FF2B5EF4-FFF2-40B4-BE49-F238E27FC236}">
                <a16:creationId xmlns:a16="http://schemas.microsoft.com/office/drawing/2014/main" id="{BB6C8BF8-83D3-54C0-D546-7997C19520F1}"/>
              </a:ext>
            </a:extLst>
          </p:cNvPr>
          <p:cNvSpPr txBox="1"/>
          <p:nvPr/>
        </p:nvSpPr>
        <p:spPr>
          <a:xfrm>
            <a:off x="199050" y="1005272"/>
            <a:ext cx="1563513" cy="177772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l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FIGURES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4" name="Elemento grafico 64">
            <a:extLst>
              <a:ext uri="{FF2B5EF4-FFF2-40B4-BE49-F238E27FC236}">
                <a16:creationId xmlns:a16="http://schemas.microsoft.com/office/drawing/2014/main" id="{2FEC2C91-A539-9968-6BD5-85395EF9AD4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9050" y="346381"/>
            <a:ext cx="1334999" cy="360000"/>
          </a:xfrm>
          <a:prstGeom prst="rect">
            <a:avLst/>
          </a:prstGeom>
        </p:spPr>
      </p:pic>
      <p:sp>
        <p:nvSpPr>
          <p:cNvPr id="85" name="Rettangolo 44">
            <a:extLst>
              <a:ext uri="{FF2B5EF4-FFF2-40B4-BE49-F238E27FC236}">
                <a16:creationId xmlns:a16="http://schemas.microsoft.com/office/drawing/2014/main" id="{3CFECDA4-226B-79C8-A599-9758303A00AB}"/>
              </a:ext>
            </a:extLst>
          </p:cNvPr>
          <p:cNvSpPr/>
          <p:nvPr/>
        </p:nvSpPr>
        <p:spPr>
          <a:xfrm>
            <a:off x="-440" y="4645100"/>
            <a:ext cx="2349500" cy="36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0E2E05B-770B-A49B-E391-854258AC56C8}"/>
              </a:ext>
            </a:extLst>
          </p:cNvPr>
          <p:cNvSpPr/>
          <p:nvPr/>
        </p:nvSpPr>
        <p:spPr>
          <a:xfrm>
            <a:off x="9581257" y="5208271"/>
            <a:ext cx="2240856" cy="1122564"/>
          </a:xfrm>
          <a:prstGeom prst="rect">
            <a:avLst/>
          </a:prstGeom>
          <a:solidFill>
            <a:srgbClr val="FFC00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gible to </a:t>
            </a:r>
            <a:br>
              <a:rPr lang="fr-FR" sz="2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y &amp; </a:t>
            </a:r>
            <a:r>
              <a:rPr lang="fr-FR" sz="2000" b="1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y</a:t>
            </a:r>
            <a:r>
              <a:rPr lang="fr-FR" sz="20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2000" b="1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ct</a:t>
            </a:r>
            <a:endParaRPr lang="fr-FR" sz="2000" b="1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5FBD87B-2E44-2D43-5677-A228582DD9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29429" y="1251249"/>
            <a:ext cx="2340309" cy="2076898"/>
          </a:xfrm>
          <a:prstGeom prst="rect">
            <a:avLst/>
          </a:prstGeom>
        </p:spPr>
      </p:pic>
      <p:pic>
        <p:nvPicPr>
          <p:cNvPr id="8" name="Image 11">
            <a:extLst>
              <a:ext uri="{FF2B5EF4-FFF2-40B4-BE49-F238E27FC236}">
                <a16:creationId xmlns:a16="http://schemas.microsoft.com/office/drawing/2014/main" id="{5F82137C-306F-E67C-7A5A-4A8C2503215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692" y="339075"/>
            <a:ext cx="841830" cy="834486"/>
          </a:xfrm>
          <a:prstGeom prst="rect">
            <a:avLst/>
          </a:prstGeom>
        </p:spPr>
      </p:pic>
      <p:pic>
        <p:nvPicPr>
          <p:cNvPr id="9" name="Picture 12">
            <a:extLst>
              <a:ext uri="{FF2B5EF4-FFF2-40B4-BE49-F238E27FC236}">
                <a16:creationId xmlns:a16="http://schemas.microsoft.com/office/drawing/2014/main" id="{F345CF5C-AF73-7251-3D8E-87DB5FC9D8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734719" y="3131610"/>
            <a:ext cx="1940473" cy="199634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87F40444-A6A8-4981-7EFD-0A9FF378F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1187" y="4634027"/>
            <a:ext cx="550403" cy="55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egnaposto testo 13">
            <a:extLst>
              <a:ext uri="{FF2B5EF4-FFF2-40B4-BE49-F238E27FC236}">
                <a16:creationId xmlns:a16="http://schemas.microsoft.com/office/drawing/2014/main" id="{EA3DF085-CA30-37CB-DDB5-DAFB7BABABE4}"/>
              </a:ext>
            </a:extLst>
          </p:cNvPr>
          <p:cNvSpPr txBox="1">
            <a:spLocks/>
          </p:cNvSpPr>
          <p:nvPr/>
        </p:nvSpPr>
        <p:spPr>
          <a:xfrm>
            <a:off x="91484" y="4174544"/>
            <a:ext cx="2150009" cy="335032"/>
          </a:xfrm>
          <a:prstGeom prst="rect">
            <a:avLst/>
          </a:prstGeom>
        </p:spPr>
        <p:txBody>
          <a:bodyPr wrap="square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* Complete package for Matrix sbo 20</a:t>
            </a:r>
            <a:b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   out of Iinstallation &amp; Commissioning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98191A8-FA39-7C7F-D8EE-0C560FFB86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CA1262-8811-4E96-A2E2-D7F82FE269E6}" type="datetime1">
              <a:rPr lang="fr-FR" smtClean="0"/>
              <a:t>09/07/20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622337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New Sidel Template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delTemplate23New-long" id="{16F27F92-AA9D-7B43-BA82-8138A208B1E4}" vid="{FBFFC02A-1B95-D14A-AB1E-00348F7AA1F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7c254b-2107-4f11-bbf4-c30bafcb0414" xsi:nil="true"/>
    <lcf76f155ced4ddcb4097134ff3c332f xmlns="7d5dec9a-9e8b-443d-b3d9-4436fe769d7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E68AB9D4A8064AA436EDC9C00D82B4" ma:contentTypeVersion="15" ma:contentTypeDescription="Crée un document." ma:contentTypeScope="" ma:versionID="756e1adc004ead8e68c4d3e8bb71b27e">
  <xsd:schema xmlns:xsd="http://www.w3.org/2001/XMLSchema" xmlns:xs="http://www.w3.org/2001/XMLSchema" xmlns:p="http://schemas.microsoft.com/office/2006/metadata/properties" xmlns:ns2="7d5dec9a-9e8b-443d-b3d9-4436fe769d7c" xmlns:ns3="287c254b-2107-4f11-bbf4-c30bafcb0414" targetNamespace="http://schemas.microsoft.com/office/2006/metadata/properties" ma:root="true" ma:fieldsID="0063318dab400152fa976bcf2e2774dd" ns2:_="" ns3:_="">
    <xsd:import namespace="7d5dec9a-9e8b-443d-b3d9-4436fe769d7c"/>
    <xsd:import namespace="287c254b-2107-4f11-bbf4-c30bafcb04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5dec9a-9e8b-443d-b3d9-4436fe769d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Balises d’image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7c254b-2107-4f11-bbf4-c30bafcb041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e2d8bf8-3f35-4aba-9ea5-a5010605ad82}" ma:internalName="TaxCatchAll" ma:showField="CatchAllData" ma:web="287c254b-2107-4f11-bbf4-c30bafcb04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FF7782F-EDA0-45CB-AC65-985AB440DE9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0E58BE-55CF-41C7-BBA4-7EE949938ABD}">
  <ds:schemaRefs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7d5dec9a-9e8b-443d-b3d9-4436fe769d7c"/>
    <ds:schemaRef ds:uri="287c254b-2107-4f11-bbf4-c30bafcb0414"/>
    <ds:schemaRef ds:uri="http://purl.org/dc/terms/"/>
    <ds:schemaRef ds:uri="http://purl.org/dc/dcmitype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A53500E-4C66-4914-9B97-A9A590B1D1FA}"/>
</file>

<file path=docProps/app.xml><?xml version="1.0" encoding="utf-8"?>
<Properties xmlns="http://schemas.openxmlformats.org/officeDocument/2006/extended-properties" xmlns:vt="http://schemas.openxmlformats.org/officeDocument/2006/docPropsVTypes">
  <Template>Sidel Template long</Template>
  <TotalTime>1317</TotalTime>
  <Words>246</Words>
  <Application>Microsoft Office PowerPoint</Application>
  <PresentationFormat>Grand écran</PresentationFormat>
  <Paragraphs>6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New Sidel Template</vt:lpstr>
      <vt:lpstr>think-cell Folie</vt:lpstr>
      <vt:lpstr>Présentation PowerPoi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 MANAGEMENT SERVICES BLOWING</dc:title>
  <dc:creator>Le Meteil, Guillaume</dc:creator>
  <cp:lastModifiedBy>Christophe, Tanguy [EXTERNAL]</cp:lastModifiedBy>
  <cp:revision>108</cp:revision>
  <dcterms:created xsi:type="dcterms:W3CDTF">2024-01-15T16:40:48Z</dcterms:created>
  <dcterms:modified xsi:type="dcterms:W3CDTF">2024-07-09T08:0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etDate">
    <vt:lpwstr>2021-08-27T10:17:47Z</vt:lpwstr>
  </property>
  <property fmtid="{D5CDD505-2E9C-101B-9397-08002B2CF9AE}" pid="6" name="MSIP_Label_94480757-a570-4f64-84e7-c5b3ffe9d573_Method">
    <vt:lpwstr>Privileged</vt:lpwstr>
  </property>
  <property fmtid="{D5CDD505-2E9C-101B-9397-08002B2CF9AE}" pid="7" name="MSIP_Label_94480757-a570-4f64-84e7-c5b3ffe9d573_Name">
    <vt:lpwstr>General</vt:lpwstr>
  </property>
  <property fmtid="{D5CDD505-2E9C-101B-9397-08002B2CF9AE}" pid="8" name="MSIP_Label_94480757-a570-4f64-84e7-c5b3ffe9d573_SiteId">
    <vt:lpwstr>2390cbd1-e663-4321-bc93-ba298637ce52</vt:lpwstr>
  </property>
  <property fmtid="{D5CDD505-2E9C-101B-9397-08002B2CF9AE}" pid="9" name="MSIP_Label_94480757-a570-4f64-84e7-c5b3ffe9d573_ActionId">
    <vt:lpwstr>92cf1a8d-d67b-4290-8333-f499519532ce</vt:lpwstr>
  </property>
  <property fmtid="{D5CDD505-2E9C-101B-9397-08002B2CF9AE}" pid="10" name="MSIP_Label_94480757-a570-4f64-84e7-c5b3ffe9d573_ContentBits">
    <vt:lpwstr>2</vt:lpwstr>
  </property>
  <property fmtid="{D5CDD505-2E9C-101B-9397-08002B2CF9AE}" pid="11" name="ContentTypeId">
    <vt:lpwstr>0x010100A9E68AB9D4A8064AA436EDC9C00D82B4</vt:lpwstr>
  </property>
  <property fmtid="{D5CDD505-2E9C-101B-9397-08002B2CF9AE}" pid="12" name="MediaServiceImageTags">
    <vt:lpwstr/>
  </property>
</Properties>
</file>